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539" r:id="rId2"/>
    <p:sldId id="521" r:id="rId3"/>
    <p:sldId id="523" r:id="rId4"/>
    <p:sldId id="524" r:id="rId5"/>
    <p:sldId id="522" r:id="rId6"/>
    <p:sldId id="525" r:id="rId7"/>
    <p:sldId id="526" r:id="rId8"/>
    <p:sldId id="527" r:id="rId9"/>
    <p:sldId id="529" r:id="rId10"/>
    <p:sldId id="528" r:id="rId11"/>
    <p:sldId id="535" r:id="rId12"/>
    <p:sldId id="536" r:id="rId13"/>
    <p:sldId id="537" r:id="rId14"/>
    <p:sldId id="534" r:id="rId15"/>
    <p:sldId id="533" r:id="rId16"/>
    <p:sldId id="538" r:id="rId17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F8B6F4-32BC-43FE-AB4A-803173BC9883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FE114E-2465-430B-81A8-908C2D03424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85813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FE114E-2465-430B-81A8-908C2D03424E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16841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4786DD-CD9D-360D-D29F-3085B3B4EA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24069BB-53A7-99DA-880A-52C27F21E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59AE190-212B-EC27-91C5-2FFDBDF7D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1A9AD5A-2EEA-C0A6-3966-B7F3F40CDF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1809FDC-59E2-2793-8DB7-9B03EB884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31689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75F9A7-7EFA-2058-39A1-37F4AB55D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EC8FC95-12AD-E54E-AA6D-DE86EA102B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A431FF2-3479-BCF4-907E-A78B26D20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9511EDB-29FC-A2D3-4CE6-2D93A3C56C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FCB08E8-2C6D-D6E3-B986-589E711D7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34322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2C009786-BA4E-0190-157D-7DBE6819DD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A97D1DE-4393-89A1-1014-5315960745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871E2E8-B361-F85D-E767-40F897D46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4020AD0-4D9D-57CB-BBD2-BE51BDE1E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30FB10F-6D81-8AAE-5EE1-6434B2836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12198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502027"/>
            <a:ext cx="9418320" cy="886396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8400" y="1617600"/>
            <a:ext cx="9418320" cy="4473600"/>
          </a:xfrm>
        </p:spPr>
        <p:txBody>
          <a:bodyPr/>
          <a:lstStyle>
            <a:lvl1pPr marL="479988" indent="-479988">
              <a:buClr>
                <a:schemeClr val="accent1"/>
              </a:buClr>
              <a:buSzPct val="75000"/>
              <a:buFont typeface="+mj-lt"/>
              <a:buAutoNum type="arabicPeriod"/>
              <a:defRPr/>
            </a:lvl1pPr>
            <a:lvl2pPr marL="959976" indent="-479988">
              <a:buClr>
                <a:schemeClr val="accent1"/>
              </a:buClr>
              <a:buSzPct val="75000"/>
              <a:buFont typeface="+mj-lt"/>
              <a:buAutoNum type="alphaUcPeriod"/>
              <a:defRPr>
                <a:solidFill>
                  <a:schemeClr val="tx2"/>
                </a:solidFill>
              </a:defRPr>
            </a:lvl2pPr>
            <a:lvl3pPr marL="1439964" indent="-479988">
              <a:buClr>
                <a:schemeClr val="accent1"/>
              </a:buClr>
              <a:buSzPct val="75000"/>
              <a:buFont typeface="+mj-lt"/>
              <a:buAutoNum type="arabicParenR"/>
              <a:defRPr/>
            </a:lvl3pPr>
            <a:lvl4pPr marL="1919952" indent="-479988">
              <a:buClr>
                <a:schemeClr val="accent1"/>
              </a:buClr>
              <a:buSzPct val="75000"/>
              <a:buFont typeface="+mj-lt"/>
              <a:buAutoNum type="alphaLcParenR"/>
              <a:defRPr>
                <a:solidFill>
                  <a:schemeClr val="tx2"/>
                </a:solidFill>
              </a:defRPr>
            </a:lvl4pPr>
            <a:lvl5pPr marL="2399940" indent="-479988">
              <a:buClr>
                <a:schemeClr val="accent1"/>
              </a:buClr>
              <a:buSzPct val="75000"/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91844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6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B813EA-8197-0C42-AFAA-68F5392D80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48" y="6208864"/>
            <a:ext cx="1241017" cy="379200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93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0C06CA3-B381-2D3E-D113-53513476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CB3A2A2-73A9-5198-043F-CCF00416C2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A7F2899-568F-AF7D-D718-FC5D33A99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DA15313-1AB1-E63D-D0FD-62E90F061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9139EA-1863-CDC5-0307-5336B5272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51517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4EA5D0-1746-1E49-82C9-91D516686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7804A05-D16C-E273-BBD2-E66E61362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F4ED7EE-A958-D156-787B-02815F772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B81AAA4-B924-DAA2-E819-657B0E570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9C288DF-D08A-B3AB-45F2-6FFFF7604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45850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05ACD9-BD26-EBAB-0E89-4A60556E0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0BFFA85-248F-79AC-141F-DFE1FA0E7E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D91321C-B1B9-0705-2E74-FA84F9D027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7968FCA-F856-F81A-891A-7E23EA690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AA1546A-CBA8-C349-61AC-F04CC9574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DFC43E5-2ABD-3C46-7497-C998288D2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5823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C252D9-7FC6-4D99-F86B-72201D627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9C9193D-9226-8E35-5FF9-EF2B792E72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BA78D88-8803-4220-BE49-685717F86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873E974-AFEE-B8C6-7DEA-675702213A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33C54978-7BE2-6F76-8DD5-CC1F3DB9A5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CFC62244-377B-C37A-F782-FD81DC5C6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48DDEC0D-AC42-790F-C370-E774404F61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C3FCF86-2F66-12CE-4F1D-5A3721E3F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73429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EDA74E-4F61-7AA2-00C2-0B4979A9B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146DF3D-5D0A-5F25-E2F4-694A31952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D878443-AB5D-77A1-D149-6F9C275A6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B9091A6-5FEA-2655-A53F-3E22518EE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6464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5A0C042-3A78-F9EA-583F-B4CC5F611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0454221E-9444-194E-6238-7E8BD71F4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FBC619C-AD44-80A8-41E2-ED3C0D21A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291934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0EC784C-B922-5DBB-3810-FB54B2124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8422615-4578-7A32-B14D-A7BF1157BB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583382E-6701-B76D-AC11-6424CAC8D9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B5F1B4-9B20-44F5-F7D9-FE75C224E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0D17E18-90A4-38C4-092C-DAF1968EE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7A939C2-C543-A745-D7EB-D23C2F572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763612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5120D01-CB8A-AF0E-2B01-7E27692F1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294A0148-5DDF-1EC9-2A32-8C2A153040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B4753DB-B3E0-98A0-424D-8FB8ABDC15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909259D-E1CE-556D-7151-176B8E3113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493DEF0-89F9-7801-829F-FE5E1F5CC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BC17FBE-2A04-47D6-D80A-19CE466B1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88720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240BA0F-1AB0-82DE-B99B-EC73BDDD7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8EAC62E-3EF7-F3A1-7525-EE071EA46D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8FF1683-4045-06ED-479B-9C41DAF01F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41705E6-1490-436F-A072-B71EFA2A6BBE}" type="datetimeFigureOut">
              <a:rPr lang="es-ES" smtClean="0"/>
              <a:t>16/12/2025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67B8F05-0633-1246-174A-EB02E081EB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247F106-5850-2C0C-500E-518FC8CF00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D47ABF0-FBB7-4E2C-BCF0-E78BDE4A5D5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46440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218D30-9201-4D23-73A9-E1A2977B49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C0AD73A3-355B-70BD-AB96-1ADE49A379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913092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1255411-D742-FFCB-394D-63385BBD7A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6D435B8-0B1D-4AEB-4E2C-E94A5964B5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713124"/>
            <a:ext cx="9144000" cy="2387600"/>
          </a:xfrm>
        </p:spPr>
        <p:txBody>
          <a:bodyPr>
            <a:normAutofit/>
          </a:bodyPr>
          <a:lstStyle/>
          <a:p>
            <a:r>
              <a:rPr lang="es-CL" sz="6600" b="1" dirty="0"/>
              <a:t>Negociación Colectiva Reglada MDO - 2025</a:t>
            </a:r>
            <a:endParaRPr lang="es-ES" sz="6600" b="1" dirty="0"/>
          </a:p>
        </p:txBody>
      </p:sp>
    </p:spTree>
    <p:extLst>
      <p:ext uri="{BB962C8B-B14F-4D97-AF65-F5344CB8AC3E}">
        <p14:creationId xmlns:p14="http://schemas.microsoft.com/office/powerpoint/2010/main" val="30515246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7856E7-AF97-80BA-163F-313DC9238EA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30856" y="632830"/>
            <a:ext cx="9418637" cy="887413"/>
          </a:xfrm>
        </p:spPr>
        <p:txBody>
          <a:bodyPr/>
          <a:lstStyle/>
          <a:p>
            <a:r>
              <a:rPr lang="es-CL" dirty="0"/>
              <a:t>INCREMENTO SUELDO BASE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D0417A7-74BA-8176-9FA9-B02EB6BD796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48645" y="2214774"/>
            <a:ext cx="94186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b="1" dirty="0"/>
              <a:t>INCREMENTO $30.000</a:t>
            </a:r>
            <a:r>
              <a:rPr lang="es-CL" dirty="0"/>
              <a:t> A CONTAR DEL 01 DE ENERO 2026 PARA TODOS LOS TRABAJADORE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b="1" dirty="0"/>
              <a:t>INCREMENTO DE $20.000 </a:t>
            </a:r>
            <a:r>
              <a:rPr lang="es-CL" dirty="0"/>
              <a:t>A CONTAR DEL 01 DE ENERO 2027 PARA TODOS LOS TRABAJADORES.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B5AE6DF-64AA-083B-440E-DAF31E40D1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48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FDD402-C8BE-8FD4-1CCD-FB38FEDF451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0838" y="412855"/>
            <a:ext cx="9418637" cy="887413"/>
          </a:xfrm>
        </p:spPr>
        <p:txBody>
          <a:bodyPr/>
          <a:lstStyle/>
          <a:p>
            <a:r>
              <a:rPr lang="es-CL" dirty="0"/>
              <a:t>BECAS ESTUDIO TRABAJADOR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64D94C4-9AB8-7220-4204-C6B2D6C9F69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292906" y="1959203"/>
            <a:ext cx="9418637" cy="4473575"/>
          </a:xfrm>
        </p:spPr>
        <p:txBody>
          <a:bodyPr/>
          <a:lstStyle/>
          <a:p>
            <a:pPr marL="0" indent="0">
              <a:buNone/>
            </a:pPr>
            <a:r>
              <a:rPr lang="es-CL" dirty="0"/>
              <a:t>ACTUAL: 12 BECAS TECNICAS Y/O UNIVERSITARIAS 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NUEVOS CUPOS: </a:t>
            </a:r>
            <a:r>
              <a:rPr lang="es-CL" b="1" dirty="0"/>
              <a:t>5 BECAS ADICIONALES </a:t>
            </a:r>
            <a:r>
              <a:rPr lang="es-CL" dirty="0"/>
              <a:t>TECNICAS Y/O UNIVERSITARIAS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TOTAL: 17 BECAS TECNICAS Y/O UNIVERSITARIAS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1E48643-F87C-A310-73C2-4987E3D777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030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978736-7459-F576-BFD5-6ECE57B63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453006C-7FAA-8B2E-6D18-8D37FCBDD3B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427" y="546554"/>
            <a:ext cx="9418637" cy="887413"/>
          </a:xfrm>
        </p:spPr>
        <p:txBody>
          <a:bodyPr>
            <a:normAutofit fontScale="90000"/>
          </a:bodyPr>
          <a:lstStyle/>
          <a:p>
            <a:r>
              <a:rPr lang="es-CL" dirty="0"/>
              <a:t>Indemnización Años Servicios por Retir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5D76BB3-C441-B019-D810-F5AF43F5F6D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5127" y="2191884"/>
            <a:ext cx="9418637" cy="4473575"/>
          </a:xfrm>
        </p:spPr>
        <p:txBody>
          <a:bodyPr/>
          <a:lstStyle/>
          <a:p>
            <a:pPr marL="0" indent="0">
              <a:buNone/>
            </a:pPr>
            <a:r>
              <a:rPr lang="es-CL" dirty="0"/>
              <a:t>ACTUAL: 9 CUPOS POR AÑO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NUEVO VALOR: </a:t>
            </a:r>
            <a:r>
              <a:rPr lang="es-CL" b="1" dirty="0"/>
              <a:t>3 CUPOS ADICIONALES </a:t>
            </a:r>
            <a:r>
              <a:rPr lang="es-CL" dirty="0"/>
              <a:t>PARA SALIDAS POR SALUD INCOMPATIBLE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TOTAL: 12 CUPOS POR AÑO 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2D8CF3E-C457-4824-DEE0-D153E7A6D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25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B59BA-38F6-0ADB-BB4E-96924B2B5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813C05-1081-4D8F-421F-F82EC9A0924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86745" y="685346"/>
            <a:ext cx="9418637" cy="887413"/>
          </a:xfrm>
        </p:spPr>
        <p:txBody>
          <a:bodyPr>
            <a:normAutofit fontScale="90000"/>
          </a:bodyPr>
          <a:lstStyle/>
          <a:p>
            <a:r>
              <a:rPr lang="es-CL" dirty="0"/>
              <a:t>SEGURO COMPLEMENTARIO DE SALUD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FAF86C5-202C-4936-2249-4E5C450E40E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6220" y="2234066"/>
            <a:ext cx="9418637" cy="4473575"/>
          </a:xfrm>
        </p:spPr>
        <p:txBody>
          <a:bodyPr/>
          <a:lstStyle/>
          <a:p>
            <a:pPr marL="0" indent="0">
              <a:buNone/>
            </a:pPr>
            <a:r>
              <a:rPr lang="es-CL" dirty="0"/>
              <a:t>VALOR ACTUAL: LA COMPAÑÍA APORTA EL 80% Y EL TRABAJADOR 20%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NUEVO VALOR: LA COMPAÑÍA </a:t>
            </a:r>
            <a:r>
              <a:rPr lang="es-CL" b="1" dirty="0"/>
              <a:t>APORTA EL 100%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B3F6BB4-E9D2-8FA0-F53B-089D18D0FB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885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A6760-B322-FE67-7A1E-E17382A1EA0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ONOS DE CIERR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FF4D2AA-191E-F651-8105-E0A8115EAD3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608592" y="1530804"/>
            <a:ext cx="9418637" cy="4473575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BTN 2025 $12.000.000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s-CL" dirty="0"/>
              <a:t> BONO RETENCION $3.000.000 (24 MESES)</a:t>
            </a:r>
          </a:p>
          <a:p>
            <a:pPr marL="0" indent="0">
              <a:buNone/>
            </a:pPr>
            <a:endParaRPr lang="es-CL" sz="4000" b="1" dirty="0"/>
          </a:p>
          <a:p>
            <a:pPr marL="0" indent="0">
              <a:buNone/>
            </a:pPr>
            <a:r>
              <a:rPr lang="es-CL" sz="4000" b="1" dirty="0"/>
              <a:t>TOTAL : $15.000.000 PAGO INMEDIATO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ESTA PROPUESTA INCLUYE JORNADA EXCEPCIONAL Y PRACTICAS PRODUCTIVAS.</a:t>
            </a:r>
          </a:p>
          <a:p>
            <a:pPr marL="0" indent="0">
              <a:buNone/>
            </a:pPr>
            <a:r>
              <a:rPr lang="es-CL" dirty="0"/>
              <a:t>VIGENCIA 24 MESES: 01 DE ENERO 2026 AL 31 DICIEMBRE 2027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F123DEE-982E-A3EA-0C01-3189D3D2A5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306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39051F-286C-9A05-9330-B6923D8EAA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20863" y="1357993"/>
            <a:ext cx="9418637" cy="887413"/>
          </a:xfrm>
        </p:spPr>
        <p:txBody>
          <a:bodyPr>
            <a:normAutofit fontScale="90000"/>
          </a:bodyPr>
          <a:lstStyle/>
          <a:p>
            <a:r>
              <a:rPr lang="es-CL" dirty="0"/>
              <a:t>RESUMEN PAGOS MENSUALES:</a:t>
            </a:r>
            <a:br>
              <a:rPr lang="es-CL" dirty="0"/>
            </a:br>
            <a:br>
              <a:rPr lang="es-CL" dirty="0"/>
            </a:br>
            <a:endParaRPr lang="es-E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6F1D8E7-F3F9-53DB-1815-C1DFB6F55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478" y="2245406"/>
            <a:ext cx="10471540" cy="3537857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B3562B29-7C1A-8C60-D1EA-7D5DF47D02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826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88BD982B-5935-1EA1-9E09-E87D279E58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738" y="2359025"/>
            <a:ext cx="10693455" cy="338319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043E2B99-C1E8-A0B8-744B-15ED774B1E5E}"/>
              </a:ext>
            </a:extLst>
          </p:cNvPr>
          <p:cNvSpPr txBox="1"/>
          <p:nvPr/>
        </p:nvSpPr>
        <p:spPr>
          <a:xfrm>
            <a:off x="1992085" y="801078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2400" b="1" dirty="0"/>
              <a:t>RESUMEN PAGOS ANUALES:</a:t>
            </a:r>
            <a:br>
              <a:rPr lang="es-CL" sz="2400" b="1" dirty="0"/>
            </a:br>
            <a:br>
              <a:rPr lang="es-CL" sz="2400" b="1" dirty="0"/>
            </a:br>
            <a:endParaRPr lang="es-ES" sz="2400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7225B48-9A63-D86D-2474-4D61B579FB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3454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318AC-460B-1455-1C78-520C4034DBD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ONO PRODUCCION MDO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EF278C-9F9B-3F72-A893-A788E7ED90A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54163" y="1389063"/>
            <a:ext cx="9418637" cy="4473575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AL 100% $178.914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b="1" dirty="0"/>
              <a:t>NUEVO VALOR LOGRADO $300.000</a:t>
            </a:r>
            <a:r>
              <a:rPr lang="es-ES" dirty="0"/>
              <a:t> al 100% DE METAS INCREMENTO 68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VALOR MINIMO ACTUAL $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NUEVO VALOR MINIMO A PAGAR $100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EL CÁLCULO DEL BONO SEGUN BUDGE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EL CÁLCULO DE ONZAS DE ORO EQUIVALENTES EN BASE A PRECIPITADO.</a:t>
            </a:r>
          </a:p>
          <a:p>
            <a:pPr marL="0" indent="0">
              <a:buNone/>
            </a:pPr>
            <a:r>
              <a:rPr lang="es-ES" dirty="0"/>
              <a:t>	</a:t>
            </a:r>
          </a:p>
          <a:p>
            <a:pPr marL="0" indent="0">
              <a:buNone/>
            </a:pP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F56E2A74-A4B8-64D7-117C-8A6DF96E6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01396" y="0"/>
            <a:ext cx="1690604" cy="138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486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318AC-460B-1455-1C78-520C4034DBD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ONO PRESENTISMO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EF278C-9F9B-3F72-A893-A788E7ED90A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782763" y="1617663"/>
            <a:ext cx="94186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57.381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b="1" dirty="0"/>
              <a:t>NUEVO VALOR $95.000</a:t>
            </a:r>
            <a:r>
              <a:rPr lang="es-CL" dirty="0"/>
              <a:t>, INCREMENTO 65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AGO POR DÍA EFECTIVAMENTE TRABAJADO</a:t>
            </a: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C8224CD-B44C-1CDA-2273-8DD31D4C98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18784" y="88794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1827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E8B8C6-FFAE-DCE6-6C7E-D1F7F44A6E4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ONO MOVILIZACION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8BD15A4-0900-2DDC-2A33-D45EAE980A0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386681" y="1704749"/>
            <a:ext cx="94186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60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b="1" dirty="0"/>
              <a:t>NUEVO VALOR $95.000</a:t>
            </a:r>
            <a:r>
              <a:rPr lang="es-CL" dirty="0"/>
              <a:t>, INCREMENTO 58%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88D20F6-1DD8-7E3E-889A-1433B305E0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877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415110-0C6F-CB2D-1B66-4799B4C33C7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42885" y="621393"/>
            <a:ext cx="9418637" cy="887413"/>
          </a:xfrm>
        </p:spPr>
        <p:txBody>
          <a:bodyPr/>
          <a:lstStyle/>
          <a:p>
            <a:r>
              <a:rPr lang="es-CL" dirty="0"/>
              <a:t>BONO CONTINUIDAD OPERACIONAL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478781A-BC1E-3C3E-1EA3-21B30AE1C7B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94232" y="1833271"/>
            <a:ext cx="94186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171.686.-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b="1" dirty="0"/>
              <a:t>NUEVO VALOR $240.000</a:t>
            </a:r>
            <a:r>
              <a:rPr lang="es-CL" dirty="0"/>
              <a:t>, INCREMENTO 40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AGO POR DIA EFECTIVAMENTE TRABAJAD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232A90E-18BD-B691-33EF-F149B0199B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068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989371-79FB-6A4D-E6E1-BA30121B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ENEFICIO ESCOLAR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1DFF8B9-34F8-E3E6-8B31-E6FD312D0D7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43001" y="1617663"/>
            <a:ext cx="10472056" cy="44735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L" b="1" dirty="0"/>
              <a:t>VALORES</a:t>
            </a:r>
          </a:p>
          <a:p>
            <a:pPr marL="342900" indent="-342900">
              <a:buFontTx/>
              <a:buChar char="-"/>
            </a:pPr>
            <a:r>
              <a:rPr lang="es-CL" dirty="0"/>
              <a:t>PREESCOLAR, BASICA  Y MEDIA ACTUAL 16UF / </a:t>
            </a:r>
            <a:r>
              <a:rPr lang="es-CL" b="1" dirty="0"/>
              <a:t>NUEVO 19UF</a:t>
            </a:r>
          </a:p>
          <a:p>
            <a:pPr marL="342900" indent="-342900">
              <a:buFontTx/>
              <a:buChar char="-"/>
            </a:pPr>
            <a:r>
              <a:rPr lang="es-CL" dirty="0"/>
              <a:t>TECNICA PROFESIONAL ACTUAL 31UF / </a:t>
            </a:r>
            <a:r>
              <a:rPr lang="es-CL" b="1" dirty="0"/>
              <a:t>NUEVO 34 UF</a:t>
            </a:r>
          </a:p>
          <a:p>
            <a:pPr marL="342900" indent="-342900">
              <a:buFontTx/>
              <a:buChar char="-"/>
            </a:pPr>
            <a:r>
              <a:rPr lang="es-CL" dirty="0"/>
              <a:t>UNIVERSITARIA ACTUAL 45UF / </a:t>
            </a:r>
            <a:r>
              <a:rPr lang="es-CL" b="1" dirty="0"/>
              <a:t>NUEVO 48 UF</a:t>
            </a:r>
          </a:p>
          <a:p>
            <a:pPr marL="0" indent="0">
              <a:buNone/>
            </a:pPr>
            <a:r>
              <a:rPr lang="es-CL" dirty="0"/>
              <a:t>-   HIJOS EN EDAD ENTRE 2 A 4 AÑOS ACTUAL 0 UF / </a:t>
            </a:r>
            <a:r>
              <a:rPr lang="es-CL" b="1" dirty="0"/>
              <a:t>NUEVO 12UF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A4371D8-2FCE-07F2-366C-54D4D53F1E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605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32EB7FB-25D8-F34D-2084-084FD4DB008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AGUINALD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627B8BA-50A3-84A5-EF54-AFC0051E87B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68478" y="2115596"/>
            <a:ext cx="101044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FIESTAS PATRIAS ACTUAL 8UF / </a:t>
            </a:r>
            <a:r>
              <a:rPr lang="es-CL" b="1" dirty="0"/>
              <a:t>NUEVO 10 UF</a:t>
            </a:r>
          </a:p>
          <a:p>
            <a:pPr marL="0" indent="0">
              <a:buNone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NAVIDAD ACTUAL 9UF / </a:t>
            </a:r>
            <a:r>
              <a:rPr lang="es-CL" b="1" dirty="0"/>
              <a:t>NUEVO 13 UF 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0BDA591-997E-E43C-9B41-B91DC02832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07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31BE73-DE72-4FB6-C36A-D7FA7687311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ONO VACACIONE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88FB62E-AD92-826B-247A-77CA30B8859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2534" y="1595892"/>
            <a:ext cx="94186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75%SUELDO BASE + 7 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b="1" dirty="0"/>
              <a:t>NUEVO VALOR 80% </a:t>
            </a:r>
            <a:r>
              <a:rPr lang="es-CL" dirty="0"/>
              <a:t>SUELDO BASE + 7 UF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0CDB5F2-6BF2-3B02-D4B2-4C3C575C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652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33846-C01B-1BC8-AA77-DF1FEC48785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3363" y="501650"/>
            <a:ext cx="9418637" cy="887413"/>
          </a:xfrm>
        </p:spPr>
        <p:txBody>
          <a:bodyPr/>
          <a:lstStyle/>
          <a:p>
            <a:r>
              <a:rPr lang="es-CL" dirty="0"/>
              <a:t>BONIFICACION FESTIV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BEAC561-E447-4DE7-FC94-A436B53A397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72356" y="2042206"/>
            <a:ext cx="9418637" cy="447357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CON RECARGO DEL 50% DE UNA HORA DE TRABAJ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NUEVO VALOR PARA LOS FESTIVOS DEL DÍA 25 DE DICIEMBRE Y 01 DE ENERO CON </a:t>
            </a:r>
            <a:r>
              <a:rPr lang="es-CL" b="1" dirty="0"/>
              <a:t>RECARGO DEL 75%</a:t>
            </a:r>
            <a:endParaRPr lang="es-ES" b="1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A7B1147-5B16-533D-8DCC-4DD8708518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987" y="0"/>
            <a:ext cx="208501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562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SoT9S2h5B0k1ktvs3E4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2</TotalTime>
  <Words>408</Words>
  <Application>Microsoft Office PowerPoint</Application>
  <PresentationFormat>Panorámica</PresentationFormat>
  <Paragraphs>68</Paragraphs>
  <Slides>16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2" baseType="lpstr">
      <vt:lpstr>Aptos</vt:lpstr>
      <vt:lpstr>Aptos Display</vt:lpstr>
      <vt:lpstr>Arial</vt:lpstr>
      <vt:lpstr>Wingdings</vt:lpstr>
      <vt:lpstr>Tema de Office</vt:lpstr>
      <vt:lpstr>Slide do think-cell</vt:lpstr>
      <vt:lpstr>Negociación Colectiva Reglada MDO - 2025</vt:lpstr>
      <vt:lpstr>BONO PRODUCCION MDO </vt:lpstr>
      <vt:lpstr>BONO PRESENTISMO</vt:lpstr>
      <vt:lpstr>BONO MOVILIZACION</vt:lpstr>
      <vt:lpstr>BONO CONTINUIDAD OPERACIONAL</vt:lpstr>
      <vt:lpstr>BENEFICIO ESCOLAR</vt:lpstr>
      <vt:lpstr>AGUINALDOS</vt:lpstr>
      <vt:lpstr>BONO VACACIONES</vt:lpstr>
      <vt:lpstr>BONIFICACION FESTIVOS</vt:lpstr>
      <vt:lpstr>INCREMENTO SUELDO BASE </vt:lpstr>
      <vt:lpstr>BECAS ESTUDIO TRABAJADOR</vt:lpstr>
      <vt:lpstr>Indemnización Años Servicios por Retiros</vt:lpstr>
      <vt:lpstr>SEGURO COMPLEMENTARIO DE SALUD</vt:lpstr>
      <vt:lpstr>BONOS DE CIERRE</vt:lpstr>
      <vt:lpstr>RESUMEN PAGOS MENSUALES:  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xis olguin</dc:creator>
  <cp:lastModifiedBy>GIANCARLO FIOCCO</cp:lastModifiedBy>
  <cp:revision>3</cp:revision>
  <dcterms:created xsi:type="dcterms:W3CDTF">2025-12-15T21:14:08Z</dcterms:created>
  <dcterms:modified xsi:type="dcterms:W3CDTF">2025-12-16T19:47:21Z</dcterms:modified>
</cp:coreProperties>
</file>